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5"/>
    <a:srgbClr val="90D4FE"/>
    <a:srgbClr val="5F9127"/>
    <a:srgbClr val="AA8A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9" autoAdjust="0"/>
    <p:restoredTop sz="96265" autoAdjust="0"/>
  </p:normalViewPr>
  <p:slideViewPr>
    <p:cSldViewPr snapToGrid="0">
      <p:cViewPr varScale="1">
        <p:scale>
          <a:sx n="90" d="100"/>
          <a:sy n="90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1" d="100"/>
          <a:sy n="61" d="100"/>
        </p:scale>
        <p:origin x="3254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90" y="1"/>
            <a:ext cx="2946400" cy="498395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r">
              <a:defRPr sz="1200"/>
            </a:lvl1pPr>
          </a:lstStyle>
          <a:p>
            <a:fld id="{7702DE8E-6C8C-4480-9F0D-8F2E29B30789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45"/>
            <a:ext cx="2946400" cy="498395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90" y="9428245"/>
            <a:ext cx="2946400" cy="498395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r">
              <a:defRPr sz="1200"/>
            </a:lvl1pPr>
          </a:lstStyle>
          <a:p>
            <a:fld id="{2573CA5A-DB14-454E-B9FC-47A5CB70E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64577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60" cy="498055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8055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r">
              <a:defRPr sz="1200"/>
            </a:lvl1pPr>
          </a:lstStyle>
          <a:p>
            <a:fld id="{EF20CBB4-039A-4BD9-A05F-2A8C53E607B8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23" tIns="45711" rIns="91423" bIns="4571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60" cy="498054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60" cy="498054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r">
              <a:defRPr sz="1200"/>
            </a:lvl1pPr>
          </a:lstStyle>
          <a:p>
            <a:fld id="{672BABF3-70BB-4F56-8C5A-B7A8ADD21A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58443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fld id="{0B02F379-A374-4079-8C7F-59F86A4ADAD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66045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vmlDrawing" Target="../drawings/vmlDrawing1.v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theme" Target="../theme/theme1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image" Target="../media/image1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16620198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6984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06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14525" y="2378269"/>
            <a:ext cx="1764907" cy="92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4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CorpoS"/>
              </a:rPr>
              <a:t>Last Modified 6/8/2016 12:21 PM China Standard Time</a:t>
            </a:r>
            <a:endParaRPr lang="en-US" sz="1599" dirty="0">
              <a:solidFill>
                <a:srgbClr val="000000"/>
              </a:solidFill>
              <a:latin typeface="Corpo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06699" y="4596250"/>
            <a:ext cx="1580561" cy="92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4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CorpoS"/>
              </a:rPr>
              <a:t>Printed 5/27/2013 11:56 PM India Standard Time</a:t>
            </a:r>
            <a:endParaRPr lang="en-US" sz="1599" dirty="0">
              <a:solidFill>
                <a:srgbClr val="000000"/>
              </a:solidFill>
              <a:latin typeface="CorpoS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528006" y="69576"/>
            <a:ext cx="464629" cy="18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943" fontAlgn="base">
              <a:spcBef>
                <a:spcPct val="0"/>
              </a:spcBef>
              <a:spcAft>
                <a:spcPct val="0"/>
              </a:spcAft>
            </a:pPr>
            <a:r>
              <a:rPr lang="en-US" sz="1199" dirty="0">
                <a:solidFill>
                  <a:srgbClr val="00000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528000" y="622555"/>
            <a:ext cx="111360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99" dirty="0">
                <a:solidFill>
                  <a:srgbClr val="808080"/>
                </a:solidFill>
                <a:latin typeface="CorpoS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1951093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99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9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705052" y="335279"/>
            <a:ext cx="796961" cy="1013962"/>
            <a:chOff x="4936" y="176"/>
            <a:chExt cx="369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10286060" y="335292"/>
            <a:ext cx="1215962" cy="741845"/>
            <a:chOff x="4750" y="176"/>
            <a:chExt cx="563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43" fontAlgn="base">
                <a:spcBef>
                  <a:spcPct val="0"/>
                </a:spcBef>
                <a:spcAft>
                  <a:spcPct val="0"/>
                </a:spcAft>
              </a:pPr>
              <a:endParaRPr lang="en-US" sz="1199" dirty="0">
                <a:solidFill>
                  <a:srgbClr val="000000"/>
                </a:solidFill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10776430" y="335277"/>
            <a:ext cx="887602" cy="212366"/>
            <a:chOff x="8088365" y="285750"/>
            <a:chExt cx="652410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88365" y="285750"/>
              <a:ext cx="652410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88365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88365" y="493888"/>
              <a:ext cx="65241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614441" y="335277"/>
            <a:ext cx="886806" cy="1333054"/>
            <a:chOff x="6655594" y="273840"/>
            <a:chExt cx="65182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3115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3115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3115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3115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3115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06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199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9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94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99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" name="McK Slide Elements" hidden="1"/>
          <p:cNvGrpSpPr>
            <a:grpSpLocks/>
          </p:cNvGrpSpPr>
          <p:nvPr/>
        </p:nvGrpSpPr>
        <p:grpSpPr bwMode="auto">
          <a:xfrm>
            <a:off x="528000" y="6170734"/>
            <a:ext cx="11136000" cy="355327"/>
            <a:chOff x="224235" y="6312525"/>
            <a:chExt cx="8512968" cy="348253"/>
          </a:xfrm>
        </p:grpSpPr>
        <p:sp>
          <p:nvSpPr>
            <p:cNvPr id="61" name="McK 4. Footnote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24235" y="6312525"/>
              <a:ext cx="8512968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1992" indent="-10199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99" dirty="0">
                  <a:solidFill>
                    <a:srgbClr val="000000"/>
                  </a:solidFill>
                  <a:latin typeface="CorpoS"/>
                </a:rPr>
                <a:t>1 Footnote</a:t>
              </a:r>
            </a:p>
          </p:txBody>
        </p:sp>
        <p:sp>
          <p:nvSpPr>
            <p:cNvPr id="62" name="McK 5. Source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224235" y="6509953"/>
              <a:ext cx="8512968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09333" indent="-509333" defTabSz="913069" fontAlgn="base">
                <a:spcBef>
                  <a:spcPct val="0"/>
                </a:spcBef>
                <a:spcAft>
                  <a:spcPct val="0"/>
                </a:spcAft>
                <a:tabLst>
                  <a:tab pos="507746" algn="l"/>
                </a:tabLst>
              </a:pPr>
              <a:r>
                <a:rPr lang="en-US" sz="999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1896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sldNum="0" hdr="0" dt="0"/>
  <p:txStyles>
    <p:titleStyle>
      <a:lvl1pPr algn="l" defTabSz="913069" rtl="0" eaLnBrk="1" fontAlgn="base" hangingPunct="1">
        <a:spcBef>
          <a:spcPct val="0"/>
        </a:spcBef>
        <a:spcAft>
          <a:spcPct val="0"/>
        </a:spcAft>
        <a:tabLst>
          <a:tab pos="275215" algn="l"/>
        </a:tabLst>
        <a:defRPr sz="2399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2pPr>
      <a:lvl3pPr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3pPr>
      <a:lvl4pPr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4pPr>
      <a:lvl5pPr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5pPr>
      <a:lvl6pPr marL="466248"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6pPr>
      <a:lvl7pPr marL="932496"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7pPr>
      <a:lvl8pPr marL="1398743"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8pPr>
      <a:lvl9pPr marL="1864992" algn="l" defTabSz="913069" rtl="0" eaLnBrk="1" fontAlgn="base" hangingPunct="1">
        <a:spcBef>
          <a:spcPct val="0"/>
        </a:spcBef>
        <a:spcAft>
          <a:spcPct val="0"/>
        </a:spcAft>
        <a:defRPr sz="189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99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508" indent="-195889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599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248" indent="-267121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99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522" indent="-158654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599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4646" indent="-132752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646" indent="-132752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6pPr>
      <a:lvl7pPr marL="764646" indent="-132752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7pPr>
      <a:lvl8pPr marL="764646" indent="-132752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8pPr>
      <a:lvl9pPr marL="764646" indent="-132752" algn="l" defTabSz="91306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66248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32496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98743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64992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331240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97488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63735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729983" algn="l" defTabSz="93249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grpSp>
        <p:nvGrpSpPr>
          <p:cNvPr id="15" name="组合 14"/>
          <p:cNvGrpSpPr/>
          <p:nvPr/>
        </p:nvGrpSpPr>
        <p:grpSpPr>
          <a:xfrm>
            <a:off x="722284" y="4416107"/>
            <a:ext cx="10099963" cy="859704"/>
            <a:chOff x="554182" y="4469678"/>
            <a:chExt cx="10099963" cy="859704"/>
          </a:xfrm>
        </p:grpSpPr>
        <p:grpSp>
          <p:nvGrpSpPr>
            <p:cNvPr id="11" name="组合 10"/>
            <p:cNvGrpSpPr/>
            <p:nvPr/>
          </p:nvGrpSpPr>
          <p:grpSpPr>
            <a:xfrm>
              <a:off x="554182" y="5286335"/>
              <a:ext cx="10099963" cy="43047"/>
              <a:chOff x="554182" y="5286335"/>
              <a:chExt cx="10099963" cy="43047"/>
            </a:xfrm>
          </p:grpSpPr>
          <p:cxnSp>
            <p:nvCxnSpPr>
              <p:cNvPr id="7" name="直接连接符 6"/>
              <p:cNvCxnSpPr/>
              <p:nvPr/>
            </p:nvCxnSpPr>
            <p:spPr>
              <a:xfrm flipV="1">
                <a:off x="554182" y="5301673"/>
                <a:ext cx="7148945" cy="27709"/>
              </a:xfrm>
              <a:prstGeom prst="line">
                <a:avLst/>
              </a:prstGeom>
              <a:ln w="28575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/>
              <p:nvPr/>
            </p:nvCxnSpPr>
            <p:spPr>
              <a:xfrm flipV="1">
                <a:off x="7703127" y="5286335"/>
                <a:ext cx="2951018" cy="19956"/>
              </a:xfrm>
              <a:prstGeom prst="line">
                <a:avLst/>
              </a:prstGeom>
              <a:ln w="28575">
                <a:solidFill>
                  <a:schemeClr val="accent6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182" y="4469678"/>
              <a:ext cx="1250477" cy="859703"/>
            </a:xfrm>
            <a:prstGeom prst="rect">
              <a:avLst/>
            </a:prstGeom>
          </p:spPr>
        </p:pic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843" y="4592319"/>
            <a:ext cx="840509" cy="840509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404" y="4592318"/>
            <a:ext cx="840509" cy="840509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0246" y="4559989"/>
            <a:ext cx="840509" cy="840509"/>
          </a:xfrm>
          <a:prstGeom prst="rect">
            <a:avLst/>
          </a:prstGeom>
        </p:spPr>
      </p:pic>
      <p:grpSp>
        <p:nvGrpSpPr>
          <p:cNvPr id="30" name="组合 29"/>
          <p:cNvGrpSpPr/>
          <p:nvPr/>
        </p:nvGrpSpPr>
        <p:grpSpPr>
          <a:xfrm>
            <a:off x="3154217" y="2264229"/>
            <a:ext cx="3988263" cy="1750751"/>
            <a:chOff x="3154217" y="1089891"/>
            <a:chExt cx="4456545" cy="2567708"/>
          </a:xfrm>
        </p:grpSpPr>
        <p:cxnSp>
          <p:nvCxnSpPr>
            <p:cNvPr id="27" name="直接连接符 26"/>
            <p:cNvCxnSpPr/>
            <p:nvPr/>
          </p:nvCxnSpPr>
          <p:spPr>
            <a:xfrm flipH="1" flipV="1">
              <a:off x="3171653" y="1089891"/>
              <a:ext cx="1" cy="2567708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 flipV="1">
              <a:off x="7610762" y="1089892"/>
              <a:ext cx="0" cy="2567707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 flipH="1">
              <a:off x="3154217" y="1089891"/>
              <a:ext cx="4456544" cy="0"/>
            </a:xfrm>
            <a:prstGeom prst="line">
              <a:avLst/>
            </a:prstGeom>
            <a:ln w="19050">
              <a:solidFill>
                <a:schemeClr val="accent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矩形 32"/>
          <p:cNvSpPr/>
          <p:nvPr/>
        </p:nvSpPr>
        <p:spPr>
          <a:xfrm>
            <a:off x="3964659" y="1389073"/>
            <a:ext cx="2382982" cy="200051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保养次数</a:t>
            </a:r>
            <a:endParaRPr lang="en-US" altLang="zh-CN" sz="1100" dirty="0">
              <a:solidFill>
                <a:schemeClr val="tx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algn="ctr"/>
            <a:endParaRPr lang="en-US" altLang="zh-CN" sz="1100" dirty="0">
              <a:solidFill>
                <a:schemeClr val="tx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保养平均间隔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保养平均消费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保养是否规律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2799423" y="5317440"/>
            <a:ext cx="895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rgbClr val="0085C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次保养</a:t>
            </a:r>
            <a:endParaRPr lang="en-US" sz="1400" b="1" dirty="0">
              <a:solidFill>
                <a:srgbClr val="0085C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6565202" y="5312903"/>
            <a:ext cx="1306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rgbClr val="0085C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近一次保养</a:t>
            </a:r>
            <a:endParaRPr lang="en-US" sz="1400" b="1" dirty="0">
              <a:solidFill>
                <a:srgbClr val="0085C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9845406" y="5307800"/>
            <a:ext cx="1306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计下次保养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6401152" y="4095640"/>
            <a:ext cx="1484498" cy="686950"/>
            <a:chOff x="2363683" y="3364828"/>
            <a:chExt cx="1484498" cy="686950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9042" y="3557410"/>
              <a:ext cx="299908" cy="299908"/>
            </a:xfrm>
            <a:prstGeom prst="rect">
              <a:avLst/>
            </a:prstGeom>
          </p:spPr>
        </p:pic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3747" y="3481388"/>
              <a:ext cx="366696" cy="366696"/>
            </a:xfrm>
            <a:prstGeom prst="rect">
              <a:avLst/>
            </a:prstGeom>
          </p:spPr>
        </p:pic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6305" y="3364828"/>
              <a:ext cx="299908" cy="299908"/>
            </a:xfrm>
            <a:prstGeom prst="rect">
              <a:avLst/>
            </a:prstGeom>
          </p:spPr>
        </p:pic>
        <p:sp>
          <p:nvSpPr>
            <p:cNvPr id="51" name="文本框 50"/>
            <p:cNvSpPr txBox="1"/>
            <p:nvPr/>
          </p:nvSpPr>
          <p:spPr>
            <a:xfrm>
              <a:off x="2363683" y="3780433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日期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2855393" y="3588922"/>
              <a:ext cx="45397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里程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3394211" y="3797862"/>
              <a:ext cx="45397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金额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9935533" y="4114281"/>
            <a:ext cx="968213" cy="560655"/>
            <a:chOff x="2363683" y="3481388"/>
            <a:chExt cx="968213" cy="560655"/>
          </a:xfrm>
        </p:grpSpPr>
        <p:pic>
          <p:nvPicPr>
            <p:cNvPr id="58" name="图片 57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3747" y="3481388"/>
              <a:ext cx="366696" cy="366696"/>
            </a:xfrm>
            <a:prstGeom prst="rect">
              <a:avLst/>
            </a:prstGeom>
          </p:spPr>
        </p:pic>
        <p:pic>
          <p:nvPicPr>
            <p:cNvPr id="59" name="图片 58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7030" y="3517530"/>
              <a:ext cx="299908" cy="299908"/>
            </a:xfrm>
            <a:prstGeom prst="rect">
              <a:avLst/>
            </a:prstGeom>
          </p:spPr>
        </p:pic>
        <p:sp>
          <p:nvSpPr>
            <p:cNvPr id="60" name="文本框 59"/>
            <p:cNvSpPr txBox="1"/>
            <p:nvPr/>
          </p:nvSpPr>
          <p:spPr>
            <a:xfrm>
              <a:off x="2363683" y="3780433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日期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2877926" y="3763119"/>
              <a:ext cx="45397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里程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2456178" y="4052073"/>
            <a:ext cx="1475789" cy="686950"/>
            <a:chOff x="2363683" y="3364828"/>
            <a:chExt cx="1475789" cy="686950"/>
          </a:xfrm>
        </p:grpSpPr>
        <p:pic>
          <p:nvPicPr>
            <p:cNvPr id="64" name="图片 63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9042" y="3557410"/>
              <a:ext cx="299908" cy="299908"/>
            </a:xfrm>
            <a:prstGeom prst="rect">
              <a:avLst/>
            </a:prstGeom>
          </p:spPr>
        </p:pic>
        <p:pic>
          <p:nvPicPr>
            <p:cNvPr id="65" name="图片 6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3747" y="3481388"/>
              <a:ext cx="366696" cy="366696"/>
            </a:xfrm>
            <a:prstGeom prst="rect">
              <a:avLst/>
            </a:prstGeom>
          </p:spPr>
        </p:pic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6305" y="3364828"/>
              <a:ext cx="299908" cy="299908"/>
            </a:xfrm>
            <a:prstGeom prst="rect">
              <a:avLst/>
            </a:prstGeom>
          </p:spPr>
        </p:pic>
        <p:sp>
          <p:nvSpPr>
            <p:cNvPr id="67" name="文本框 66"/>
            <p:cNvSpPr txBox="1"/>
            <p:nvPr/>
          </p:nvSpPr>
          <p:spPr>
            <a:xfrm>
              <a:off x="2363683" y="3780433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日期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2855393" y="3588922"/>
              <a:ext cx="45397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里程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3385502" y="3797862"/>
              <a:ext cx="45397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50" b="1" dirty="0">
                  <a:solidFill>
                    <a:schemeClr val="accent6">
                      <a:lumMod val="75000"/>
                    </a:schemeClr>
                  </a:solidFill>
                </a:rPr>
                <a:t>金额</a:t>
              </a:r>
              <a:endParaRPr lang="en-US" sz="105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54" name="文本框 53"/>
          <p:cNvSpPr txBox="1"/>
          <p:nvPr/>
        </p:nvSpPr>
        <p:spPr>
          <a:xfrm>
            <a:off x="659657" y="5875614"/>
            <a:ext cx="65021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案例要求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1 -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现有车辆保养记录，来统计车辆保养情况及预测下次保养时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1" name="图片 7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819" y="2544606"/>
            <a:ext cx="701987" cy="701987"/>
          </a:xfrm>
          <a:prstGeom prst="rect">
            <a:avLst/>
          </a:prstGeom>
        </p:spPr>
      </p:pic>
      <p:grpSp>
        <p:nvGrpSpPr>
          <p:cNvPr id="78" name="组合 77"/>
          <p:cNvGrpSpPr/>
          <p:nvPr/>
        </p:nvGrpSpPr>
        <p:grpSpPr>
          <a:xfrm>
            <a:off x="7756419" y="1842037"/>
            <a:ext cx="2052469" cy="2196384"/>
            <a:chOff x="7756419" y="1801397"/>
            <a:chExt cx="2052469" cy="2196384"/>
          </a:xfrm>
        </p:grpSpPr>
        <p:sp>
          <p:nvSpPr>
            <p:cNvPr id="73" name="五边形 72"/>
            <p:cNvSpPr/>
            <p:nvPr/>
          </p:nvSpPr>
          <p:spPr>
            <a:xfrm>
              <a:off x="7756419" y="1801397"/>
              <a:ext cx="2052469" cy="2196384"/>
            </a:xfrm>
            <a:prstGeom prst="homePlate">
              <a:avLst>
                <a:gd name="adj" fmla="val 29145"/>
              </a:avLst>
            </a:prstGeom>
            <a:gradFill flip="none" rotWithShape="1">
              <a:gsLst>
                <a:gs pos="0">
                  <a:schemeClr val="bg1"/>
                </a:gs>
                <a:gs pos="92000">
                  <a:srgbClr val="90D4FE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8065373" y="2045509"/>
              <a:ext cx="1281365" cy="1708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行驶里程间隔为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千公里，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保养时间间隔为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8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月，以先到者为主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7" name="文本框 76"/>
          <p:cNvSpPr txBox="1"/>
          <p:nvPr/>
        </p:nvSpPr>
        <p:spPr>
          <a:xfrm>
            <a:off x="4540085" y="4480977"/>
            <a:ext cx="14536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dirty="0">
                <a:solidFill>
                  <a:srgbClr val="0085C5"/>
                </a:solidFill>
              </a:rPr>
              <a:t>……</a:t>
            </a:r>
            <a:endParaRPr lang="en-US" sz="4800" dirty="0">
              <a:solidFill>
                <a:srgbClr val="0085C5"/>
              </a:solidFill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0" y="317683"/>
            <a:ext cx="12192000" cy="55257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2400" dirty="0">
                <a:solidFill>
                  <a:schemeClr val="bg1"/>
                </a:solidFill>
              </a:rPr>
              <a:t>  车辆保养全周期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305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93&quot; g=&quot;E1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2_Mercedes-Benz_CF_DMB634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9F0002"/>
      </a:accent5>
      <a:accent6>
        <a:srgbClr val="808080"/>
      </a:accent6>
      <a:hlink>
        <a:srgbClr val="0082E6"/>
      </a:hlink>
      <a:folHlink>
        <a:srgbClr val="003366"/>
      </a:folHlink>
    </a:clrScheme>
    <a:fontScheme name="Custom 248">
      <a:majorFont>
        <a:latin typeface="CorpoA"/>
        <a:ea typeface="ＭＳ Ｐゴシック"/>
        <a:cs typeface=""/>
      </a:majorFont>
      <a:minorFont>
        <a:latin typeface="Corpo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B6BBC1"/>
        </a:accent1>
        <a:accent2>
          <a:srgbClr val="00ADEF"/>
        </a:accent2>
        <a:accent3>
          <a:srgbClr val="0082E6"/>
        </a:accent3>
        <a:accent4>
          <a:srgbClr val="003366"/>
        </a:accent4>
        <a:accent5>
          <a:srgbClr val="9F0002"/>
        </a:accent5>
        <a:accent6>
          <a:srgbClr val="808080"/>
        </a:accent6>
        <a:hlink>
          <a:srgbClr val="0082E6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</Words>
  <Application>Microsoft Office PowerPoint</Application>
  <PresentationFormat>宽屏</PresentationFormat>
  <Paragraphs>24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CorpoS</vt:lpstr>
      <vt:lpstr>微软雅黑</vt:lpstr>
      <vt:lpstr>微软雅黑 Light</vt:lpstr>
      <vt:lpstr>Arial</vt:lpstr>
      <vt:lpstr>Calibri</vt:lpstr>
      <vt:lpstr>2_Mercedes-Benz_CF_DMB634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12T01:26:23Z</dcterms:created>
  <dcterms:modified xsi:type="dcterms:W3CDTF">2019-09-25T14:32:17Z</dcterms:modified>
</cp:coreProperties>
</file>